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63" r:id="rId4"/>
  </p:sldMasterIdLst>
  <p:notesMasterIdLst>
    <p:notesMasterId r:id="rId14"/>
  </p:notesMasterIdLst>
  <p:handoutMasterIdLst>
    <p:handoutMasterId r:id="rId15"/>
  </p:handoutMasterIdLst>
  <p:sldIdLst>
    <p:sldId id="530" r:id="rId5"/>
    <p:sldId id="473" r:id="rId6"/>
    <p:sldId id="524" r:id="rId7"/>
    <p:sldId id="529" r:id="rId8"/>
    <p:sldId id="531" r:id="rId9"/>
    <p:sldId id="527" r:id="rId10"/>
    <p:sldId id="532" r:id="rId11"/>
    <p:sldId id="522" r:id="rId12"/>
    <p:sldId id="528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619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pos="6698" userDrawn="1">
          <p15:clr>
            <a:srgbClr val="A4A3A4"/>
          </p15:clr>
        </p15:guide>
        <p15:guide id="5" pos="4021" userDrawn="1">
          <p15:clr>
            <a:srgbClr val="A4A3A4"/>
          </p15:clr>
        </p15:guide>
        <p15:guide id="6" orient="horz" pos="3929" userDrawn="1">
          <p15:clr>
            <a:srgbClr val="A4A3A4"/>
          </p15:clr>
        </p15:guide>
        <p15:guide id="7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9700"/>
    <a:srgbClr val="267FB1"/>
    <a:srgbClr val="2988CE"/>
    <a:srgbClr val="F29400"/>
    <a:srgbClr val="A4C6E6"/>
    <a:srgbClr val="F0F0F0"/>
    <a:srgbClr val="FFFFFF"/>
    <a:srgbClr val="267FD7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51" autoAdjust="0"/>
    <p:restoredTop sz="96190" autoAdjust="0"/>
  </p:normalViewPr>
  <p:slideViewPr>
    <p:cSldViewPr snapToGrid="0" snapToObjects="1">
      <p:cViewPr varScale="1">
        <p:scale>
          <a:sx n="106" d="100"/>
          <a:sy n="106" d="100"/>
        </p:scale>
        <p:origin x="1134" y="102"/>
      </p:cViewPr>
      <p:guideLst>
        <p:guide orient="horz" pos="958"/>
        <p:guide pos="619"/>
        <p:guide orient="horz" pos="1117"/>
        <p:guide pos="6698"/>
        <p:guide pos="4021"/>
        <p:guide orient="horz" pos="3929"/>
        <p:guide orient="horz" pos="3589"/>
      </p:guideLst>
    </p:cSldViewPr>
  </p:slideViewPr>
  <p:outlineViewPr>
    <p:cViewPr>
      <p:scale>
        <a:sx n="33" d="100"/>
        <a:sy n="33" d="100"/>
      </p:scale>
      <p:origin x="0" y="-2920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73C730B-1DFB-49D3-B71C-C90A133123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46FC13-AB40-4A28-90E1-4BAB62C92A7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161134-429D-47FE-8078-8651822D95BD}" type="datetimeFigureOut">
              <a:rPr lang="nb-NO" smtClean="0"/>
              <a:t>11.03.2020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037C35-5527-4290-8037-D1680CB0BBE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D4E640-C280-4086-B321-754FD673A56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9FFCAB-C10B-486C-8406-10D132A09E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944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AE50D5-1D8D-6D4F-826A-AD5C6447FA8B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62965" y="458788"/>
            <a:ext cx="4217670" cy="23724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2960370"/>
            <a:ext cx="5715000" cy="587502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1C0916-2F7C-2C49-9F3E-65445478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532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9F7999-7AA7-49E0-ADC4-1F5E997AAA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270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DF7A723A-7763-40FA-AA40-84A901B8C0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01021" y="3260725"/>
            <a:ext cx="5989520" cy="336550"/>
          </a:xfrm>
        </p:spPr>
        <p:txBody>
          <a:bodyPr anchor="b"/>
          <a:lstStyle>
            <a:lvl1pPr marL="0" indent="0" algn="ctr">
              <a:buNone/>
              <a:defRPr/>
            </a:lvl1pPr>
          </a:lstStyle>
          <a:p>
            <a:pPr lvl="0"/>
            <a:r>
              <a:rPr lang="en-GB" noProof="0" dirty="0"/>
              <a:t>Click</a:t>
            </a:r>
            <a:r>
              <a:rPr lang="en-US" dirty="0"/>
              <a:t>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9D517D0-F424-F442-B548-9186A265102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5027815" y="868957"/>
            <a:ext cx="2136371" cy="521476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5B1FA0AD-42DB-C94F-B820-0F07A80538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021" y="2176070"/>
            <a:ext cx="9317519" cy="841856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GB" dirty="0"/>
              <a:t>Click to edit Master title style</a:t>
            </a:r>
            <a:endParaRPr lang="nb-NO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9BBB4B6-7423-4F49-B8A6-2D9E8D10BFF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76932" y="5418000"/>
            <a:ext cx="2515068" cy="720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84286082-5BC3-6C43-BA58-23164794759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4082" y="720000"/>
            <a:ext cx="7008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3960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416CF4-2061-4C41-BD2C-1C959997B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677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4252451" y="2879610"/>
            <a:ext cx="3687097" cy="90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a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96580" y="1979478"/>
            <a:ext cx="7460615" cy="2387600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C64A074-ADDD-6645-B4BF-5D7460AB97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4082" y="720000"/>
            <a:ext cx="700800" cy="720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17B852AE-A259-8446-B6F6-0A6F463972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76932" y="5418000"/>
            <a:ext cx="2515068" cy="720000"/>
          </a:xfrm>
          <a:prstGeom prst="rect">
            <a:avLst/>
          </a:prstGeom>
        </p:spPr>
      </p:pic>
      <p:pic>
        <p:nvPicPr>
          <p:cNvPr id="5" name="Picture 22">
            <a:extLst>
              <a:ext uri="{FF2B5EF4-FFF2-40B4-BE49-F238E27FC236}">
                <a16:creationId xmlns:a16="http://schemas.microsoft.com/office/drawing/2014/main" id="{7F82F600-1B7C-974C-BD94-6966FBF868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/>
        </p:blipFill>
        <p:spPr bwMode="auto">
          <a:xfrm>
            <a:off x="434082" y="6173259"/>
            <a:ext cx="1285981" cy="31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96580" y="1979478"/>
            <a:ext cx="7460615" cy="23876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7B852AE-A259-8446-B6F6-0A6F463972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76932" y="5418000"/>
            <a:ext cx="2515068" cy="720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C0419F4-3F2F-B842-A984-48230B313EF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82" y="720000"/>
            <a:ext cx="700800" cy="720000"/>
          </a:xfrm>
          <a:prstGeom prst="rect">
            <a:avLst/>
          </a:prstGeom>
        </p:spPr>
      </p:pic>
      <p:pic>
        <p:nvPicPr>
          <p:cNvPr id="6" name="Picture 22">
            <a:extLst>
              <a:ext uri="{FF2B5EF4-FFF2-40B4-BE49-F238E27FC236}">
                <a16:creationId xmlns:a16="http://schemas.microsoft.com/office/drawing/2014/main" id="{586D8599-DA81-544F-90E9-DD6F014139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/>
        </p:blipFill>
        <p:spPr bwMode="auto">
          <a:xfrm>
            <a:off x="434082" y="6173259"/>
            <a:ext cx="1285981" cy="31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9181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0000" y="1123200"/>
            <a:ext cx="4278537" cy="10880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5162400" y="450000"/>
            <a:ext cx="7028900" cy="5558400"/>
          </a:xfrm>
          <a:prstGeom prst="rect">
            <a:avLst/>
          </a:prstGeo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pic>
        <p:nvPicPr>
          <p:cNvPr id="5" name="Picture 22">
            <a:extLst>
              <a:ext uri="{FF2B5EF4-FFF2-40B4-BE49-F238E27FC236}">
                <a16:creationId xmlns:a16="http://schemas.microsoft.com/office/drawing/2014/main" id="{9E7486F1-9BEA-284C-AF3A-B3BF428501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434082" y="6173259"/>
            <a:ext cx="1285981" cy="31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0000" y="1123200"/>
            <a:ext cx="4278537" cy="866476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5162400" y="450000"/>
            <a:ext cx="7028900" cy="5558400"/>
          </a:xfrm>
          <a:prstGeom prst="rect">
            <a:avLst/>
          </a:prstGeo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F2573257-2601-A84D-9A2F-F825104E0BA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0000" y="2275304"/>
            <a:ext cx="4248692" cy="3083505"/>
          </a:xfrm>
        </p:spPr>
        <p:txBody>
          <a:bodyPr/>
          <a:lstStyle>
            <a:lvl1pPr marL="0" indent="0">
              <a:buNone/>
              <a:defRPr/>
            </a:lvl1pPr>
            <a:lvl2pPr marL="179388" indent="0">
              <a:buNone/>
              <a:defRPr/>
            </a:lvl2pPr>
            <a:lvl3pPr marL="357187" indent="0">
              <a:buNone/>
              <a:defRPr/>
            </a:lvl3pPr>
            <a:lvl4pPr marL="536575" indent="0">
              <a:buNone/>
              <a:defRPr/>
            </a:lvl4pPr>
            <a:lvl5pPr marL="714375" indent="0">
              <a:buNone/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pic>
        <p:nvPicPr>
          <p:cNvPr id="6" name="Picture 22">
            <a:extLst>
              <a:ext uri="{FF2B5EF4-FFF2-40B4-BE49-F238E27FC236}">
                <a16:creationId xmlns:a16="http://schemas.microsoft.com/office/drawing/2014/main" id="{291E8CAD-04A2-A748-9D43-5A5D2AA81B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/>
        </p:blipFill>
        <p:spPr bwMode="auto">
          <a:xfrm>
            <a:off x="434082" y="6173259"/>
            <a:ext cx="1285981" cy="31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8350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416CF4-2061-4C41-BD2C-1C959997B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4711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416CF4-2061-4C41-BD2C-1C959997B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35E614D-6491-4558-9CBA-A3E37584942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0000" y="1530000"/>
            <a:ext cx="11233150" cy="437107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41E3411-D37F-1644-98A2-DB3159A49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50000"/>
            <a:ext cx="11218018" cy="841856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416CF4-2061-4C41-BD2C-1C959997B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9877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416CF4-2061-4C41-BD2C-1C959997B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D0E2F5A-A259-41AF-8C49-342A821A9DF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0000" y="1530000"/>
            <a:ext cx="5480050" cy="43387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E0D944B3-0FFA-45A1-9A2B-2213FB770AA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32525" y="1530000"/>
            <a:ext cx="5480050" cy="43387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ED8176-A61B-EB4C-AC1D-DFE0E807D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50000"/>
            <a:ext cx="11218018" cy="841856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4838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416CF4-2061-4C41-BD2C-1C959997B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2392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416CF4-2061-4C41-BD2C-1C959997B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D0E2F5A-A259-41AF-8C49-342A821A9DF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0000" y="1530000"/>
            <a:ext cx="3600000" cy="4318821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E0D944B3-0FFA-45A1-9A2B-2213FB770AA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03718" y="1530000"/>
            <a:ext cx="3600000" cy="4318821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ED8176-A61B-EB4C-AC1D-DFE0E807D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50000"/>
            <a:ext cx="11218018" cy="841856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BAFFA83-0ABC-9E43-A114-FFEC2885E4C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59009" y="1530000"/>
            <a:ext cx="3600000" cy="4318821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547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2">
            <a:extLst>
              <a:ext uri="{FF2B5EF4-FFF2-40B4-BE49-F238E27FC236}">
                <a16:creationId xmlns:a16="http://schemas.microsoft.com/office/drawing/2014/main" id="{FBFA9F4D-C61E-D846-9530-1C05F99A1C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434082" y="6173259"/>
            <a:ext cx="1285981" cy="31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7055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F7CF52-4E61-452C-9B6E-2A959B67D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26522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15" imgW="353" imgH="353" progId="TCLayout.ActiveDocument.1">
                  <p:embed/>
                </p:oleObj>
              </mc:Choice>
              <mc:Fallback>
                <p:oleObj name="think-cell Slide" r:id="rId1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F7CF52-4E61-452C-9B6E-2A959B67D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F1D3F98-21FE-46B9-B54C-25F8FD207F6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00" y="741643"/>
            <a:ext cx="11218018" cy="841856"/>
          </a:xfrm>
          <a:prstGeom prst="rect">
            <a:avLst/>
          </a:prstGeom>
        </p:spPr>
        <p:txBody>
          <a:bodyPr vert="horz" lIns="0" tIns="0" rIns="90000" bIns="90000" rtlCol="0" anchor="b" anchorCtr="0">
            <a:norm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700" y="2174581"/>
            <a:ext cx="11218018" cy="3849259"/>
          </a:xfrm>
          <a:prstGeom prst="rect">
            <a:avLst/>
          </a:prstGeom>
        </p:spPr>
        <p:txBody>
          <a:bodyPr vert="horz" wrap="square" lIns="0" tIns="0" rIns="90000" bIns="90000" rtlCol="0" anchor="t" anchorCtr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pic>
        <p:nvPicPr>
          <p:cNvPr id="12" name="Picture 22">
            <a:extLst>
              <a:ext uri="{FF2B5EF4-FFF2-40B4-BE49-F238E27FC236}">
                <a16:creationId xmlns:a16="http://schemas.microsoft.com/office/drawing/2014/main" id="{202C43D3-FE6B-4897-9322-930037409C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/>
          <a:srcRect/>
          <a:stretch/>
        </p:blipFill>
        <p:spPr bwMode="auto">
          <a:xfrm>
            <a:off x="434082" y="6173259"/>
            <a:ext cx="1285981" cy="31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647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168" r:id="rId2"/>
    <p:sldLayoutId id="2147484209" r:id="rId3"/>
    <p:sldLayoutId id="2147484169" r:id="rId4"/>
    <p:sldLayoutId id="2147484208" r:id="rId5"/>
    <p:sldLayoutId id="2147484172" r:id="rId6"/>
    <p:sldLayoutId id="2147484193" r:id="rId7"/>
    <p:sldLayoutId id="2147484211" r:id="rId8"/>
    <p:sldLayoutId id="2147484210" r:id="rId9"/>
    <p:sldLayoutId id="2147484207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78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9388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78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3763" indent="-179388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tabLst>
          <a:tab pos="893763" algn="l"/>
        </a:tabLst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378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orient="horz" pos="1085" userDrawn="1">
          <p15:clr>
            <a:srgbClr val="F26B43"/>
          </p15:clr>
        </p15:guide>
        <p15:guide id="5" orient="horz" pos="38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F7EE5B-E7D5-A949-BBAA-FB5AD46A88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B4BDD-EA04-D147-82AB-7FE35E86E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2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28F2D0-4569-4B12-BAD4-CFFB7F665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Title</a:t>
            </a:r>
            <a:r>
              <a:rPr lang="nb-NO" dirty="0"/>
              <a:t> </a:t>
            </a:r>
            <a:r>
              <a:rPr lang="nb-NO" dirty="0" err="1"/>
              <a:t>page</a:t>
            </a:r>
            <a:endParaRPr lang="en-US" dirty="0"/>
          </a:p>
        </p:txBody>
      </p:sp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7B832B7F-B6D4-BE44-9EE2-7FE2E23C56B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/>
          <a:stretch/>
        </p:blipFill>
        <p:spPr>
          <a:xfrm>
            <a:off x="5162400" y="937802"/>
            <a:ext cx="7028900" cy="4582796"/>
          </a:xfrm>
        </p:spPr>
      </p:pic>
    </p:spTree>
    <p:extLst>
      <p:ext uri="{BB962C8B-B14F-4D97-AF65-F5344CB8AC3E}">
        <p14:creationId xmlns:p14="http://schemas.microsoft.com/office/powerpoint/2010/main" val="1373756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F2154B8-A254-334B-BF65-273E86F0D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olar </a:t>
            </a:r>
            <a:r>
              <a:rPr lang="nb-NO" dirty="0" err="1"/>
              <a:t>made</a:t>
            </a:r>
            <a:r>
              <a:rPr lang="nb-NO" dirty="0"/>
              <a:t> simple</a:t>
            </a:r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9FD02A61-70E6-3D4A-9C36-6D8A5F903D1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r="6074" b="20902"/>
          <a:stretch/>
        </p:blipFill>
        <p:spPr>
          <a:xfrm>
            <a:off x="5202749" y="930093"/>
            <a:ext cx="6989251" cy="4411442"/>
          </a:xfr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F8EF703E-4031-FE48-B1EE-693A01B8B4B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nb-NO" dirty="0"/>
              <a:t>A </a:t>
            </a:r>
            <a:r>
              <a:rPr lang="nb-NO" dirty="0" err="1"/>
              <a:t>power</a:t>
            </a:r>
            <a:r>
              <a:rPr lang="nb-NO" dirty="0"/>
              <a:t> </a:t>
            </a:r>
            <a:r>
              <a:rPr lang="nb-NO" dirty="0" err="1"/>
              <a:t>solution</a:t>
            </a:r>
            <a:r>
              <a:rPr lang="nb-NO" dirty="0"/>
              <a:t> </a:t>
            </a:r>
            <a:r>
              <a:rPr lang="nb-NO" dirty="0" err="1"/>
              <a:t>that</a:t>
            </a:r>
            <a:r>
              <a:rPr lang="nb-NO" dirty="0"/>
              <a:t> </a:t>
            </a:r>
            <a:r>
              <a:rPr lang="nb-NO" dirty="0" err="1"/>
              <a:t>reduces</a:t>
            </a:r>
            <a:r>
              <a:rPr lang="nb-NO" dirty="0"/>
              <a:t> </a:t>
            </a:r>
            <a:r>
              <a:rPr lang="nb-NO" dirty="0" err="1"/>
              <a:t>power</a:t>
            </a:r>
            <a:r>
              <a:rPr lang="nb-NO" dirty="0"/>
              <a:t> </a:t>
            </a:r>
            <a:r>
              <a:rPr lang="nb-NO" dirty="0" err="1"/>
              <a:t>costs</a:t>
            </a:r>
            <a:r>
              <a:rPr lang="nb-NO" dirty="0"/>
              <a:t> </a:t>
            </a:r>
            <a:r>
              <a:rPr lang="nb-NO" dirty="0" err="1"/>
              <a:t>while</a:t>
            </a:r>
            <a:r>
              <a:rPr lang="nb-NO" dirty="0"/>
              <a:t> </a:t>
            </a:r>
            <a:r>
              <a:rPr lang="nb-NO" dirty="0" err="1"/>
              <a:t>ancreasing</a:t>
            </a:r>
            <a:r>
              <a:rPr lang="nb-NO" dirty="0"/>
              <a:t> </a:t>
            </a:r>
            <a:r>
              <a:rPr lang="nb-NO" dirty="0" err="1"/>
              <a:t>power</a:t>
            </a:r>
            <a:r>
              <a:rPr lang="nb-NO" dirty="0"/>
              <a:t> </a:t>
            </a:r>
            <a:r>
              <a:rPr lang="nb-NO" dirty="0" err="1"/>
              <a:t>independence</a:t>
            </a:r>
            <a:r>
              <a:rPr lang="nb-NO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743771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3CAB54-9190-C142-9ADE-8803A1D886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955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76C9B1-09EB-394D-A2B8-8B73AFCEEEF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2443A0-1DC5-5741-92B0-AB547AF77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5954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23EA49-C807-7442-8012-DA76777F74A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7EEE25-2A99-E342-A1CE-7024D7420E9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93592B-E1CD-9A4B-A05E-4AF71A813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8149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FD4C61-06EC-B04A-9C73-7CAE11D957A3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10BAF8-7CC4-7242-9AC3-CCE3BF42999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8060-CE1A-B94F-A6B2-74A9B5EFB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77AE796-C661-9843-8AB4-53781382A26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09635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E37860B-42A2-914C-9993-E1AD090D5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17304DAC-9315-5C46-A92D-772AB688517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13567" r="1356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33094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9871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56622546831996523053E+00&quot;&gt;&lt;m_msothmcolidx val=&quot;0&quot;/&gt;&lt;m_rgb r=&quot;30&quot; g=&quot;9B&quot; b=&quot;D7&quot;/&gt;&lt;m_nBrightness val=&quot;0&quot;/&gt;&lt;/elem&gt;&lt;elem m_fUsage=&quot;3.34555287616964358577E+00&quot;&gt;&lt;m_msothmcolidx val=&quot;0&quot;/&gt;&lt;m_rgb r=&quot;A4&quot; g=&quot;C6&quot; b=&quot;E6&quot;/&gt;&lt;m_nBrightness val=&quot;0&quot;/&gt;&lt;/elem&gt;&lt;elem m_fUsage=&quot;1.69916403195027054807E+00&quot;&gt;&lt;m_msothmcolidx val=&quot;0&quot;/&gt;&lt;m_rgb r=&quot;26&quot; g=&quot;7F&quot; b=&quot;B1&quot;/&gt;&lt;m_nBrightness val=&quot;0&quot;/&gt;&lt;/elem&gt;&lt;elem m_fUsage=&quot;1.29063288553262855984E+00&quot;&gt;&lt;m_msothmcolidx val=&quot;0&quot;/&gt;&lt;m_rgb r=&quot;B9&quot; g=&quot;B9&quot; b=&quot;B9&quot;/&gt;&lt;m_nBrightness val=&quot;0&quot;/&gt;&lt;/elem&gt;&lt;elem m_fUsage=&quot;6.46108188922667886489E-02&quot;&gt;&lt;m_msothmcolidx val=&quot;0&quot;/&gt;&lt;m_rgb r=&quot;1B&quot; g=&quot;1B&quot; b=&quot;1B&quot;/&gt;&lt;m_nBrightness val=&quot;0&quot;/&gt;&lt;/elem&gt;&lt;elem m_fUsage=&quot;5.78218017212386858894E-03&quot;&gt;&lt;m_msothmcolidx val=&quot;0&quot;/&gt;&lt;m_rgb r=&quot;4F&quot; g=&quot;81&quot; b=&quot;D5&quot;/&gt;&lt;m_nBrightness val=&quot;0&quot;/&gt;&lt;/elem&gt;&lt;elem m_fUsage=&quot;3.38139191352273020194E-03&quot;&gt;&lt;m_msothmcolidx val=&quot;0&quot;/&gt;&lt;m_rgb r=&quot;4F&quot; g=&quot;81&quot; b=&quot;BD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Zcc1InTO.9PiE14X0k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Release">
      <a:dk1>
        <a:srgbClr val="1E1E1E"/>
      </a:dk1>
      <a:lt1>
        <a:srgbClr val="FFFFFF"/>
      </a:lt1>
      <a:dk2>
        <a:srgbClr val="6E6E6E"/>
      </a:dk2>
      <a:lt2>
        <a:srgbClr val="F6F6F6"/>
      </a:lt2>
      <a:accent1>
        <a:srgbClr val="A01A00"/>
      </a:accent1>
      <a:accent2>
        <a:srgbClr val="EF744B"/>
      </a:accent2>
      <a:accent3>
        <a:srgbClr val="E54100"/>
      </a:accent3>
      <a:accent4>
        <a:srgbClr val="EAEAEA"/>
      </a:accent4>
      <a:accent5>
        <a:srgbClr val="A01900"/>
      </a:accent5>
      <a:accent6>
        <a:srgbClr val="EF744B"/>
      </a:accent6>
      <a:hlink>
        <a:srgbClr val="E54100"/>
      </a:hlink>
      <a:folHlink>
        <a:srgbClr val="E541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atec Solar" id="{663CFFE8-000B-4242-9B42-62DE0CBD65E4}" vid="{614C8A20-51F9-48AF-93A4-F44DD7993DF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7C8E6B4E2E6B442BF358534BFEA047E" ma:contentTypeVersion="10" ma:contentTypeDescription="Opprett et nytt dokument." ma:contentTypeScope="" ma:versionID="2f660f7037d698817c4f9af685ae0eca">
  <xsd:schema xmlns:xsd="http://www.w3.org/2001/XMLSchema" xmlns:xs="http://www.w3.org/2001/XMLSchema" xmlns:p="http://schemas.microsoft.com/office/2006/metadata/properties" xmlns:ns3="ae504408-99d8-4a85-a3d4-f2e6b8e5df9a" targetNamespace="http://schemas.microsoft.com/office/2006/metadata/properties" ma:root="true" ma:fieldsID="52e5303fa7ba1d9809d1d9da3491dffc" ns3:_="">
    <xsd:import namespace="ae504408-99d8-4a85-a3d4-f2e6b8e5df9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504408-99d8-4a85-a3d4-f2e6b8e5df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784F166-75CB-4AA4-88F9-B687151008B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A5DC2B9-D5CE-4D4C-95A7-63B1662306D0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ae504408-99d8-4a85-a3d4-f2e6b8e5df9a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43528FA-1BBA-4E22-A0A0-8CB3E98B16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504408-99d8-4a85-a3d4-f2e6b8e5df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eneral-Presentation (1)</Template>
  <TotalTime>327</TotalTime>
  <Words>17</Words>
  <Application>Microsoft Office PowerPoint</Application>
  <PresentationFormat>Widescreen</PresentationFormat>
  <Paragraphs>3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Century Gothic</vt:lpstr>
      <vt:lpstr>master</vt:lpstr>
      <vt:lpstr>think-cell Slide</vt:lpstr>
      <vt:lpstr>PowerPoint Presentation</vt:lpstr>
      <vt:lpstr>Title page</vt:lpstr>
      <vt:lpstr>Solar made simp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Linnemann</dc:creator>
  <cp:lastModifiedBy>Kine Aaltvedt</cp:lastModifiedBy>
  <cp:revision>25</cp:revision>
  <cp:lastPrinted>2017-10-24T13:36:39Z</cp:lastPrinted>
  <dcterms:created xsi:type="dcterms:W3CDTF">2018-09-27T08:26:04Z</dcterms:created>
  <dcterms:modified xsi:type="dcterms:W3CDTF">2020-03-11T09:1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C8E6B4E2E6B442BF358534BFEA047E</vt:lpwstr>
  </property>
  <property fmtid="{D5CDD505-2E9C-101B-9397-08002B2CF9AE}" pid="3" name="Document Type">
    <vt:lpwstr/>
  </property>
</Properties>
</file>